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50:30.098" v="18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9:50:30.098" v="18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A4CFA2F4-FF8D-446B-B271-6DF568DBEADA}" dt="2026-01-14T09:16:36.695" v="12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5352873238292916"/>
          <c:w val="0.79430876353508262"/>
          <c:h val="0.59741000918965048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.7301999999999997E-2</c:v>
                </c:pt>
                <c:pt idx="4">
                  <c:v>0.80418599999999996</c:v>
                </c:pt>
                <c:pt idx="5">
                  <c:v>3.9528020000000001</c:v>
                </c:pt>
                <c:pt idx="6">
                  <c:v>9.4050329999999995</c:v>
                </c:pt>
                <c:pt idx="7">
                  <c:v>17.491479000000002</c:v>
                </c:pt>
                <c:pt idx="8">
                  <c:v>23.327812000000002</c:v>
                </c:pt>
                <c:pt idx="9">
                  <c:v>31.141587000000001</c:v>
                </c:pt>
                <c:pt idx="10">
                  <c:v>39.209615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CFF.ch et Mobile CFF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7.974157000000002</c:v>
                </c:pt>
                <c:pt idx="1">
                  <c:v>24.389900000000001</c:v>
                </c:pt>
                <c:pt idx="2">
                  <c:v>32.353721</c:v>
                </c:pt>
                <c:pt idx="3">
                  <c:v>44.220541999999995</c:v>
                </c:pt>
                <c:pt idx="4">
                  <c:v>64.436859999999996</c:v>
                </c:pt>
                <c:pt idx="5">
                  <c:v>51.198005000000002</c:v>
                </c:pt>
                <c:pt idx="6">
                  <c:v>73.108429000000001</c:v>
                </c:pt>
                <c:pt idx="7">
                  <c:v>104.073866</c:v>
                </c:pt>
                <c:pt idx="8">
                  <c:v>126.675342</c:v>
                </c:pt>
                <c:pt idx="9">
                  <c:v>143.51680399999998</c:v>
                </c:pt>
                <c:pt idx="10">
                  <c:v>159.423482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eur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93855000000002</c:v>
                </c:pt>
                <c:pt idx="1">
                  <c:v>49.305990000000001</c:v>
                </c:pt>
                <c:pt idx="2">
                  <c:v>48.396062999999998</c:v>
                </c:pt>
                <c:pt idx="3">
                  <c:v>46.495206000000003</c:v>
                </c:pt>
                <c:pt idx="4">
                  <c:v>42.206930999999997</c:v>
                </c:pt>
                <c:pt idx="5">
                  <c:v>24.688984000000001</c:v>
                </c:pt>
                <c:pt idx="6">
                  <c:v>24.878795</c:v>
                </c:pt>
                <c:pt idx="7">
                  <c:v>28.877310000000001</c:v>
                </c:pt>
                <c:pt idx="8">
                  <c:v>27.097303</c:v>
                </c:pt>
                <c:pt idx="9">
                  <c:v>24.156610000000001</c:v>
                </c:pt>
                <c:pt idx="10">
                  <c:v>22.0947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Centres voyageur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19.757598999999999</c:v>
                </c:pt>
                <c:pt idx="1">
                  <c:v>15.980143999999999</c:v>
                </c:pt>
                <c:pt idx="2">
                  <c:v>14.588436</c:v>
                </c:pt>
                <c:pt idx="3">
                  <c:v>12.655569</c:v>
                </c:pt>
                <c:pt idx="4">
                  <c:v>11.47528</c:v>
                </c:pt>
                <c:pt idx="5">
                  <c:v>5.9818119999999997</c:v>
                </c:pt>
                <c:pt idx="6">
                  <c:v>6.406377</c:v>
                </c:pt>
                <c:pt idx="7">
                  <c:v>8.9507290000000008</c:v>
                </c:pt>
                <c:pt idx="8">
                  <c:v>9.2324219999999997</c:v>
                </c:pt>
                <c:pt idx="9">
                  <c:v>8.7664209999999994</c:v>
                </c:pt>
                <c:pt idx="10">
                  <c:v>8.153648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utre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1.9853100000000019</c:v>
                </c:pt>
                <c:pt idx="1">
                  <c:v>2.7727089999999954</c:v>
                </c:pt>
                <c:pt idx="2">
                  <c:v>3.5255739999999989</c:v>
                </c:pt>
                <c:pt idx="3">
                  <c:v>3.9583979999999954</c:v>
                </c:pt>
                <c:pt idx="4">
                  <c:v>4.7055430000000058</c:v>
                </c:pt>
                <c:pt idx="5">
                  <c:v>3.9473689999999948</c:v>
                </c:pt>
                <c:pt idx="6">
                  <c:v>4.2629159999999899</c:v>
                </c:pt>
                <c:pt idx="7">
                  <c:v>5.5397880000000299</c:v>
                </c:pt>
                <c:pt idx="8">
                  <c:v>6.5444120000000225</c:v>
                </c:pt>
                <c:pt idx="9">
                  <c:v>7.7272439999999847</c:v>
                </c:pt>
                <c:pt idx="10">
                  <c:v>8.2664560000000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370635126179239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4733</cdr:y>
    </cdr:from>
    <cdr:to>
      <cdr:x>0.2358</cdr:x>
      <cdr:y>0.0934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248320"/>
          <a:ext cx="1562442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M billets/</a:t>
          </a:r>
          <a:r>
            <a:rPr lang="de-DE" sz="1100" dirty="0" err="1">
              <a:solidFill>
                <a:schemeClr val="tx2"/>
              </a:solidFill>
            </a:rPr>
            <a:t>abonnements</a:t>
          </a:r>
          <a:endParaRPr lang="de-DE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20606237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fr-FR" dirty="0"/>
              <a:t>Vente de billets par canal de distribution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039463" y="6048375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utres: renouvellement automatique de l’abonnement, partenaires de distribution et Contact Center CFF.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57669" y="570945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C72745-6897-431C-8A52-F5F0CC1ED1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te de billets par canal de distribu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te de billets par canal de distribution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